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1579" r:id="rId5"/>
  </p:sldIdLst>
  <p:sldSz cx="12192000" cy="6858000"/>
  <p:notesSz cx="6858000" cy="91440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Montserrat" panose="00000500000000000000" pitchFamily="2" charset="0"/>
      <p:regular r:id="rId12"/>
      <p:bold r:id="rId13"/>
      <p:italic r:id="rId14"/>
      <p:boldItalic r:id="rId15"/>
    </p:embeddedFont>
    <p:embeddedFont>
      <p:font typeface="Montserrat SemiBold" panose="00000700000000000000" pitchFamily="2" charset="0"/>
      <p:regular r:id="rId16"/>
      <p:bold r:id="rId17"/>
      <p:italic r:id="rId18"/>
      <p:boldItalic r:id="rId19"/>
    </p:embeddedFont>
    <p:embeddedFont>
      <p:font typeface="Segoe UI" panose="020B0502040204020203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144" userDrawn="1">
          <p15:clr>
            <a:srgbClr val="A4A3A4"/>
          </p15:clr>
        </p15:guide>
        <p15:guide id="4" orient="horz" pos="528" userDrawn="1">
          <p15:clr>
            <a:srgbClr val="A4A3A4"/>
          </p15:clr>
        </p15:guide>
        <p15:guide id="5" pos="360" userDrawn="1">
          <p15:clr>
            <a:srgbClr val="A4A3A4"/>
          </p15:clr>
        </p15:guide>
        <p15:guide id="6" orient="horz" pos="21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Nairy, Ashley" initials="MA" lastIdx="1" clrIdx="0">
    <p:extLst>
      <p:ext uri="{19B8F6BF-5375-455C-9EA6-DF929625EA0E}">
        <p15:presenceInfo xmlns:p15="http://schemas.microsoft.com/office/powerpoint/2012/main" userId="S::ashley.mcnairy@cotiviti.com::eef08808-7a1f-4a69-9a55-522e36f515c7" providerId="AD"/>
      </p:ext>
    </p:extLst>
  </p:cmAuthor>
  <p:cmAuthor id="2" name="Costello, David" initials="CD" lastIdx="14" clrIdx="1">
    <p:extLst>
      <p:ext uri="{19B8F6BF-5375-455C-9EA6-DF929625EA0E}">
        <p15:presenceInfo xmlns:p15="http://schemas.microsoft.com/office/powerpoint/2012/main" userId="S::David.Costello@cotiviti.com::4dbb3db4-d546-4990-a46c-33176553816c" providerId="AD"/>
      </p:ext>
    </p:extLst>
  </p:cmAuthor>
  <p:cmAuthor id="3" name="Weitnauer, Mo" initials="WM" lastIdx="28" clrIdx="2">
    <p:extLst>
      <p:ext uri="{19B8F6BF-5375-455C-9EA6-DF929625EA0E}">
        <p15:presenceInfo xmlns:p15="http://schemas.microsoft.com/office/powerpoint/2012/main" userId="S::moliehi.weitnauer@cotiviti.com::b6e5f333-c104-42db-9213-41602e080ff6" providerId="AD"/>
      </p:ext>
    </p:extLst>
  </p:cmAuthor>
  <p:cmAuthor id="4" name="Nguyen, Hoang" initials="NH" lastIdx="1" clrIdx="3">
    <p:extLst>
      <p:ext uri="{19B8F6BF-5375-455C-9EA6-DF929625EA0E}">
        <p15:presenceInfo xmlns:p15="http://schemas.microsoft.com/office/powerpoint/2012/main" userId="S::hoang.nguyen@cotiviti.com::d6aa0934-2905-47c3-b7f1-2bcdc64038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20"/>
    <a:srgbClr val="EEE717"/>
    <a:srgbClr val="A4D55F"/>
    <a:srgbClr val="0DD0C9"/>
    <a:srgbClr val="00AEEF"/>
    <a:srgbClr val="A3E759"/>
    <a:srgbClr val="FFF2F7"/>
    <a:srgbClr val="D8D7EB"/>
    <a:srgbClr val="FF91D2"/>
    <a:srgbClr val="FFDD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48"/>
    <p:restoredTop sz="94638"/>
  </p:normalViewPr>
  <p:slideViewPr>
    <p:cSldViewPr snapToGrid="0">
      <p:cViewPr>
        <p:scale>
          <a:sx n="120" d="100"/>
          <a:sy n="120" d="100"/>
        </p:scale>
        <p:origin x="293" y="10"/>
      </p:cViewPr>
      <p:guideLst>
        <p:guide pos="3840"/>
        <p:guide orient="horz" pos="144"/>
        <p:guide orient="horz" pos="528"/>
        <p:guide pos="360"/>
        <p:guide orient="horz" pos="21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14.fntdata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openxmlformats.org/officeDocument/2006/relationships/font" Target="fonts/font16.fntdata"/><Relationship Id="rId28" Type="http://schemas.openxmlformats.org/officeDocument/2006/relationships/theme" Target="theme/theme1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font" Target="fonts/font15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10/1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10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D0247B2-2830-864A-B87F-E2E644B9FF34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7234A3-DC02-5549-9EF7-01E25E04FDBA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48B406-4B66-455A-B810-8115BA7BC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41549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48B406-4B66-455A-B810-8115BA7BC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737D1AB-AF46-4CA8-AB3B-2D6F47FE97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A16EF6-DD93-7543-B634-BFCA85E95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8FD5A-B970-F14F-BEE4-A4D1E8B3628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188D9FA-2B0B-1144-88EC-388CEC9CC0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459"/>
            <a:stretch/>
          </p:blipFill>
          <p:spPr>
            <a:xfrm>
              <a:off x="6366796" y="806298"/>
              <a:ext cx="4821157" cy="475183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94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59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2" name="Circle: Hollow 431">
            <a:extLst>
              <a:ext uri="{FF2B5EF4-FFF2-40B4-BE49-F238E27FC236}">
                <a16:creationId xmlns:a16="http://schemas.microsoft.com/office/drawing/2014/main" id="{99728016-7034-4B32-8745-F6D2F9AAF4A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99" name="Circle: Hollow 98">
            <a:extLst>
              <a:ext uri="{FF2B5EF4-FFF2-40B4-BE49-F238E27FC236}">
                <a16:creationId xmlns:a16="http://schemas.microsoft.com/office/drawing/2014/main" id="{ACA7BEC7-3B68-4B03-84EE-953CE6D834E3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C2B1A486-EC5A-491C-9BB8-CCFAEEE9592B}"/>
              </a:ext>
            </a:extLst>
          </p:cNvPr>
          <p:cNvSpPr/>
          <p:nvPr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ACE861C-B5D9-4C71-939C-935BDDA99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524" y="10422"/>
            <a:ext cx="5708853" cy="6845147"/>
          </a:xfrm>
          <a:prstGeom prst="rect">
            <a:avLst/>
          </a:prstGeom>
          <a:effectLst/>
        </p:spPr>
      </p:pic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382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469AD368-1377-F045-80F7-74398DE7EB2A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Circle: Hollow 98">
            <a:extLst>
              <a:ext uri="{FF2B5EF4-FFF2-40B4-BE49-F238E27FC236}">
                <a16:creationId xmlns:a16="http://schemas.microsoft.com/office/drawing/2014/main" id="{38FA9ECD-DD95-8F4D-A98D-35CCEC4338A4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2E6E8306-4C45-584C-9225-8653BEEFD53C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DA9392A-9839-124B-8A4C-DEF2DFFCFCC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D9CC3-F522-5240-B04B-5FD2198C656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28470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15FAE27-BA94-E240-8F71-430FC64F55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29">
            <a:extLst>
              <a:ext uri="{FF2B5EF4-FFF2-40B4-BE49-F238E27FC236}">
                <a16:creationId xmlns:a16="http://schemas.microsoft.com/office/drawing/2014/main" id="{105B1B46-5B5A-6A48-909F-BD23D5F428BE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Circle: Hollow 431">
            <a:extLst>
              <a:ext uri="{FF2B5EF4-FFF2-40B4-BE49-F238E27FC236}">
                <a16:creationId xmlns:a16="http://schemas.microsoft.com/office/drawing/2014/main" id="{720C4F33-3673-CC4A-A8C2-528A031C987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Circle: Hollow 98">
            <a:extLst>
              <a:ext uri="{FF2B5EF4-FFF2-40B4-BE49-F238E27FC236}">
                <a16:creationId xmlns:a16="http://schemas.microsoft.com/office/drawing/2014/main" id="{120E5B84-0E72-E944-A39F-0127B9C1D501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CF40E8C4-45D3-F245-A248-51D54B40CB71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077384B-E21D-4447-B01E-977229B6C73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34C98-A857-4993-9B4A-7E97989E0A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42808" y="370738"/>
            <a:ext cx="7480418" cy="7863840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7514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2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32A00-D894-474B-A69A-A676DE3C3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61282B-C496-6E4E-BCB5-280EEBECD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150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D639D-15C4-5F4F-B6E5-21B42F48E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84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268985-B9BE-EF45-AFE8-A78C74B1AE59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5F5B72-6F29-0C4D-BBF5-98CCE15E4A29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555C0C-ABCF-544B-944B-98EEDCA98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62418F-B0E9-C341-981F-3B384991C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BC4577-6BA0-554B-BB9E-09A96DA47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36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6448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lang="en-US" sz="3600" kern="1200" noProof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02A3BC-B4F1-2341-A8FD-1BDB1C600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1C1C3D-4D7B-4A32-A4C1-7D171B059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1211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1C1C3D-4D7B-4A32-A4C1-7D171B059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6F69E0-5C07-42EE-A585-1B03DEB699B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7141EA-7C97-4D14-802B-FE34264A6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51835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7141EA-7C97-4D14-802B-FE34264A6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E9EC2A-F502-4BE5-B7C0-31991BE7B4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11277600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5"/>
            <a:ext cx="11277600" cy="9144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79776C-F4FC-4184-B091-6D5007B87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1231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79776C-F4FC-4184-B091-6D5007B87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CB682C-07AF-4F3B-8D74-8FFF238C8B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193973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6F32F-067E-4565-A390-2302EDFBE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8414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26F32F-067E-4565-A390-2302EDFBE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E23948-7695-490B-BA33-BA00CDC8EC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278086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8098973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318E7-57B1-4A0E-8E32-8C5B0D59B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79870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3318E7-57B1-4A0E-8E32-8C5B0D59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F0AB5F-3FE4-40D7-B6BE-7BEE0CAA8BD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9CD14D-55A8-8F4D-AFCE-25FBF659882A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810585-BC77-214B-835B-5FBC51AD75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080C593-1AFE-A64E-AE89-A4E331355FEA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1D744F2-8D99-D74F-9856-373EBF3C194C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C4F114B3-615E-4046-94B0-1C8D183210BB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5B89091-484F-DF49-ADD2-7611D982EE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5AAF10C-D448-F04A-809B-19E9BF32EE66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93929B1-BAFF-7148-8835-F53F60C9D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0149E-5344-054F-8CC2-B1A4D495C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755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2427058-8064-694F-9704-D7EC0B4EF26B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D18C31-035E-904A-AEE7-F7CE1F3B1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2A472BF-1B55-6E4F-B865-55E35834B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  <a:effectLst/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D1F8D3F-0C0D-C546-9CA1-CD0665D58720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9E33D5D1-11B3-0640-833C-9B0AFE7F186D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F84E8DAD-3D78-F642-8E9E-2048BE0EB0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3870" y="833718"/>
              <a:ext cx="3994616" cy="460188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A1CB06F-1E73-BE43-B37B-3F9B43DE8389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6B1004D-B64D-5D40-B505-29C33AE936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AC344CE-FF5E-AD4F-8AEB-37F3AF2B95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22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E4E311-46EF-47A9-80CC-1BF05141C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3608057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E4E311-46EF-47A9-80CC-1BF05141C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84F8B3-0BD0-478F-B0AA-AC79F83A630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3439743" y="6554791"/>
            <a:ext cx="573105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</a:t>
            </a:r>
            <a:r>
              <a:rPr lang="en-US" sz="700" b="0" i="0" kern="1200" err="1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tiviti</a:t>
            </a: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, Inc.</a:t>
            </a:r>
            <a:endParaRPr lang="en-US" sz="100" kern="120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5167"/>
            <a:ext cx="11277600" cy="47817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Bullet 2</a:t>
            </a:r>
          </a:p>
          <a:p>
            <a:pPr lvl="2"/>
            <a:r>
              <a:rPr lang="en-US" noProof="0"/>
              <a:t>Bullet 3</a:t>
            </a:r>
          </a:p>
          <a:p>
            <a:pPr lvl="3"/>
            <a:r>
              <a:rPr lang="en-US" noProof="0"/>
              <a:t>Bullet 4</a:t>
            </a:r>
          </a:p>
          <a:p>
            <a:pPr lvl="4"/>
            <a:r>
              <a:rPr lang="en-US" noProof="0"/>
              <a:t>Bullet 5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2F099C-789D-1C4C-A8AC-4D5AC7942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7" r:id="rId2"/>
    <p:sldLayoutId id="2147483706" r:id="rId3"/>
    <p:sldLayoutId id="2147483675" r:id="rId4"/>
    <p:sldLayoutId id="2147483679" r:id="rId5"/>
    <p:sldLayoutId id="214748368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600" b="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1775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7525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tabLst>
          <a:tab pos="517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41363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2178AD-75CC-4100-9E7C-5120B1643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1</a:t>
            </a:fld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5C8E2E4-EADA-45D7-99A0-66095197D050}"/>
              </a:ext>
            </a:extLst>
          </p:cNvPr>
          <p:cNvSpPr/>
          <p:nvPr/>
        </p:nvSpPr>
        <p:spPr>
          <a:xfrm>
            <a:off x="843578" y="1639868"/>
            <a:ext cx="579349" cy="22682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/>
                </a:solidFill>
              </a:rPr>
              <a:t>Begin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85DCD9-43E2-4952-A3AA-7BFC58336E6B}"/>
              </a:ext>
            </a:extLst>
          </p:cNvPr>
          <p:cNvSpPr/>
          <p:nvPr/>
        </p:nvSpPr>
        <p:spPr>
          <a:xfrm>
            <a:off x="1917503" y="1481708"/>
            <a:ext cx="912858" cy="57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Business Problem &amp; Goal Definition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68C7260-B27D-4299-8F7E-63177BA289A0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>
            <a:off x="1422927" y="1753282"/>
            <a:ext cx="494576" cy="137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86851094-035B-479D-BD9D-A5347C15024F}"/>
              </a:ext>
            </a:extLst>
          </p:cNvPr>
          <p:cNvSpPr/>
          <p:nvPr/>
        </p:nvSpPr>
        <p:spPr>
          <a:xfrm>
            <a:off x="1901089" y="2620636"/>
            <a:ext cx="912858" cy="57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 err="1">
                <a:solidFill>
                  <a:srgbClr val="592680"/>
                </a:solidFill>
                <a:latin typeface="Segoe UI" panose="020B0502040204020203" pitchFamily="34" charset="0"/>
              </a:rPr>
              <a:t>DataOps</a:t>
            </a:r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 Create Data Pipeline</a:t>
            </a:r>
            <a:endParaRPr lang="en-US" sz="600" i="1" u="none" strike="noStrike" baseline="0" dirty="0">
              <a:solidFill>
                <a:srgbClr val="592680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693944-B5EB-41AB-80B1-542995843C12}"/>
              </a:ext>
            </a:extLst>
          </p:cNvPr>
          <p:cNvSpPr/>
          <p:nvPr/>
        </p:nvSpPr>
        <p:spPr>
          <a:xfrm>
            <a:off x="3324937" y="1479478"/>
            <a:ext cx="811649" cy="5705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Data Collection &amp; Preparation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F71EC05-3988-4525-914E-DA7FA319BFC1}"/>
              </a:ext>
            </a:extLst>
          </p:cNvPr>
          <p:cNvCxnSpPr>
            <a:cxnSpLocks/>
            <a:stCxn id="17" idx="3"/>
            <a:endCxn id="35" idx="1"/>
          </p:cNvCxnSpPr>
          <p:nvPr/>
        </p:nvCxnSpPr>
        <p:spPr>
          <a:xfrm flipV="1">
            <a:off x="4136586" y="1764756"/>
            <a:ext cx="397233" cy="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D317F55-E806-4EEA-9327-F3E06CAD49D1}"/>
              </a:ext>
            </a:extLst>
          </p:cNvPr>
          <p:cNvSpPr/>
          <p:nvPr/>
        </p:nvSpPr>
        <p:spPr>
          <a:xfrm>
            <a:off x="4533819" y="1479465"/>
            <a:ext cx="940786" cy="5705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Feature Engineering</a:t>
            </a:r>
            <a:endParaRPr lang="en-US" sz="300" dirty="0">
              <a:solidFill>
                <a:schemeClr val="accent1"/>
              </a:solidFill>
            </a:endParaRP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3752B7F3-48FC-46F8-A5FF-AFEB97D1D7A0}"/>
              </a:ext>
            </a:extLst>
          </p:cNvPr>
          <p:cNvCxnSpPr>
            <a:cxnSpLocks/>
            <a:endCxn id="14" idx="3"/>
          </p:cNvCxnSpPr>
          <p:nvPr/>
        </p:nvCxnSpPr>
        <p:spPr>
          <a:xfrm rot="5400000">
            <a:off x="2759960" y="2126415"/>
            <a:ext cx="833499" cy="725523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AF23D62D-05B8-4927-8D57-9D6446A3023F}"/>
              </a:ext>
            </a:extLst>
          </p:cNvPr>
          <p:cNvCxnSpPr>
            <a:cxnSpLocks/>
            <a:stCxn id="35" idx="3"/>
            <a:endCxn id="59" idx="1"/>
          </p:cNvCxnSpPr>
          <p:nvPr/>
        </p:nvCxnSpPr>
        <p:spPr>
          <a:xfrm>
            <a:off x="5474605" y="1764756"/>
            <a:ext cx="270639" cy="44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BAB2F25F-86F4-45F0-B138-E24F6F7F60A6}"/>
              </a:ext>
            </a:extLst>
          </p:cNvPr>
          <p:cNvCxnSpPr>
            <a:cxnSpLocks/>
            <a:stCxn id="11" idx="3"/>
            <a:endCxn id="17" idx="1"/>
          </p:cNvCxnSpPr>
          <p:nvPr/>
        </p:nvCxnSpPr>
        <p:spPr>
          <a:xfrm flipV="1">
            <a:off x="2830361" y="1764768"/>
            <a:ext cx="494576" cy="223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C24DA82-6FA0-4873-B528-5F0575CF064E}"/>
              </a:ext>
            </a:extLst>
          </p:cNvPr>
          <p:cNvSpPr/>
          <p:nvPr/>
        </p:nvSpPr>
        <p:spPr>
          <a:xfrm>
            <a:off x="4533820" y="3716461"/>
            <a:ext cx="940786" cy="5705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(Transformation)</a:t>
            </a:r>
          </a:p>
          <a:p>
            <a:pPr marR="0" algn="ctr" rtl="0"/>
            <a:r>
              <a:rPr lang="en-US" sz="600" dirty="0">
                <a:solidFill>
                  <a:srgbClr val="592680"/>
                </a:solidFill>
                <a:latin typeface="Segoe UI" panose="020B0502040204020203" pitchFamily="34" charset="0"/>
              </a:rPr>
              <a:t>AI Engineer c</a:t>
            </a:r>
            <a:r>
              <a:rPr lang="en-US" sz="600" b="0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reate new or modified features based on data scientists’ reques</a:t>
            </a:r>
            <a:r>
              <a:rPr lang="en-US" sz="700" b="0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t</a:t>
            </a:r>
            <a:endParaRPr lang="en-US" sz="100" dirty="0">
              <a:solidFill>
                <a:schemeClr val="accent1"/>
              </a:solidFill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3465CDD7-93ED-49E9-9DDB-C487CCB00E41}"/>
              </a:ext>
            </a:extLst>
          </p:cNvPr>
          <p:cNvSpPr/>
          <p:nvPr/>
        </p:nvSpPr>
        <p:spPr>
          <a:xfrm>
            <a:off x="7013065" y="4782212"/>
            <a:ext cx="818164" cy="59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Model Deployment</a:t>
            </a:r>
            <a:endParaRPr lang="en-US" sz="100" dirty="0">
              <a:solidFill>
                <a:schemeClr val="accent1"/>
              </a:solidFill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7090B1F7-B3BF-48B9-AB29-F1DF4FEF4966}"/>
              </a:ext>
            </a:extLst>
          </p:cNvPr>
          <p:cNvSpPr/>
          <p:nvPr/>
        </p:nvSpPr>
        <p:spPr>
          <a:xfrm>
            <a:off x="8170010" y="4782212"/>
            <a:ext cx="740204" cy="57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Model Monitoring</a:t>
            </a:r>
            <a:endParaRPr lang="en-US" sz="100" dirty="0">
              <a:solidFill>
                <a:schemeClr val="accent1"/>
              </a:solidFill>
            </a:endParaRPr>
          </a:p>
        </p:txBody>
      </p: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46357648-220E-4D92-8FA3-8C9A7BCBA64D}"/>
              </a:ext>
            </a:extLst>
          </p:cNvPr>
          <p:cNvCxnSpPr>
            <a:cxnSpLocks/>
            <a:stCxn id="145" idx="2"/>
            <a:endCxn id="87" idx="0"/>
          </p:cNvCxnSpPr>
          <p:nvPr/>
        </p:nvCxnSpPr>
        <p:spPr>
          <a:xfrm>
            <a:off x="5004213" y="4287042"/>
            <a:ext cx="6349" cy="4345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30DF7D9B-2D08-4459-A11A-9775F0004A06}"/>
              </a:ext>
            </a:extLst>
          </p:cNvPr>
          <p:cNvCxnSpPr>
            <a:cxnSpLocks/>
            <a:stCxn id="169" idx="3"/>
            <a:endCxn id="170" idx="1"/>
          </p:cNvCxnSpPr>
          <p:nvPr/>
        </p:nvCxnSpPr>
        <p:spPr>
          <a:xfrm flipV="1">
            <a:off x="7831229" y="5067502"/>
            <a:ext cx="338781" cy="121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: Rounded Corners 187">
            <a:extLst>
              <a:ext uri="{FF2B5EF4-FFF2-40B4-BE49-F238E27FC236}">
                <a16:creationId xmlns:a16="http://schemas.microsoft.com/office/drawing/2014/main" id="{4A47816E-CE64-411D-907A-D6CEA0F25C02}"/>
              </a:ext>
            </a:extLst>
          </p:cNvPr>
          <p:cNvSpPr/>
          <p:nvPr/>
        </p:nvSpPr>
        <p:spPr>
          <a:xfrm>
            <a:off x="11058353" y="5904795"/>
            <a:ext cx="450891" cy="22682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/>
                </a:solidFill>
              </a:rPr>
              <a:t>En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78B02291-06B9-4DB4-B563-D3A96C6498FB}"/>
              </a:ext>
            </a:extLst>
          </p:cNvPr>
          <p:cNvCxnSpPr>
            <a:cxnSpLocks/>
            <a:stCxn id="170" idx="3"/>
            <a:endCxn id="95" idx="1"/>
          </p:cNvCxnSpPr>
          <p:nvPr/>
        </p:nvCxnSpPr>
        <p:spPr>
          <a:xfrm>
            <a:off x="8910214" y="5067502"/>
            <a:ext cx="32796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E93F691B-4B63-4147-AF0B-55032B894896}"/>
              </a:ext>
            </a:extLst>
          </p:cNvPr>
          <p:cNvCxnSpPr>
            <a:cxnSpLocks/>
            <a:stCxn id="129" idx="3"/>
            <a:endCxn id="188" idx="1"/>
          </p:cNvCxnSpPr>
          <p:nvPr/>
        </p:nvCxnSpPr>
        <p:spPr>
          <a:xfrm>
            <a:off x="9978379" y="6018209"/>
            <a:ext cx="10799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or: Elbow 236">
            <a:extLst>
              <a:ext uri="{FF2B5EF4-FFF2-40B4-BE49-F238E27FC236}">
                <a16:creationId xmlns:a16="http://schemas.microsoft.com/office/drawing/2014/main" id="{D780A308-454B-449B-AC47-6B9361BBA79E}"/>
              </a:ext>
            </a:extLst>
          </p:cNvPr>
          <p:cNvCxnSpPr>
            <a:cxnSpLocks/>
            <a:stCxn id="68" idx="0"/>
            <a:endCxn id="35" idx="0"/>
          </p:cNvCxnSpPr>
          <p:nvPr/>
        </p:nvCxnSpPr>
        <p:spPr>
          <a:xfrm rot="16200000" flipH="1" flipV="1">
            <a:off x="6213401" y="265804"/>
            <a:ext cx="4472" cy="2422850"/>
          </a:xfrm>
          <a:prstGeom prst="bentConnector3">
            <a:avLst>
              <a:gd name="adj1" fmla="val -5111807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Connector: Elbow 242">
            <a:extLst>
              <a:ext uri="{FF2B5EF4-FFF2-40B4-BE49-F238E27FC236}">
                <a16:creationId xmlns:a16="http://schemas.microsoft.com/office/drawing/2014/main" id="{A40D0B00-AE70-43F4-B896-86CD91632112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5576670" y="-370915"/>
            <a:ext cx="4485" cy="3696300"/>
          </a:xfrm>
          <a:prstGeom prst="bentConnector3">
            <a:avLst>
              <a:gd name="adj1" fmla="val -9202988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Connector: Elbow 309">
            <a:extLst>
              <a:ext uri="{FF2B5EF4-FFF2-40B4-BE49-F238E27FC236}">
                <a16:creationId xmlns:a16="http://schemas.microsoft.com/office/drawing/2014/main" id="{3F79FFFF-B9D7-41B3-89F7-3EC0233331D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985345" y="2887361"/>
            <a:ext cx="1670876" cy="2"/>
          </a:xfrm>
          <a:prstGeom prst="bentConnector3">
            <a:avLst>
              <a:gd name="adj1" fmla="val 50000"/>
            </a:avLst>
          </a:prstGeom>
          <a:ln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5E469A53-5EFE-4D02-91A1-99E9ABB05BFB}"/>
              </a:ext>
            </a:extLst>
          </p:cNvPr>
          <p:cNvSpPr/>
          <p:nvPr/>
        </p:nvSpPr>
        <p:spPr>
          <a:xfrm>
            <a:off x="5745244" y="1483949"/>
            <a:ext cx="940786" cy="5705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Model Training</a:t>
            </a:r>
            <a:endParaRPr lang="en-US" sz="300" dirty="0">
              <a:solidFill>
                <a:schemeClr val="accent1"/>
              </a:solidFill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FC3157F4-0BD5-4FDA-9C13-BDE8E2D90E49}"/>
              </a:ext>
            </a:extLst>
          </p:cNvPr>
          <p:cNvCxnSpPr>
            <a:cxnSpLocks/>
            <a:stCxn id="59" idx="3"/>
            <a:endCxn id="68" idx="1"/>
          </p:cNvCxnSpPr>
          <p:nvPr/>
        </p:nvCxnSpPr>
        <p:spPr>
          <a:xfrm flipV="1">
            <a:off x="6686030" y="1760284"/>
            <a:ext cx="270639" cy="89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9DB5D58C-BD38-4F9E-9657-7CDAD23FA2A2}"/>
              </a:ext>
            </a:extLst>
          </p:cNvPr>
          <p:cNvSpPr/>
          <p:nvPr/>
        </p:nvSpPr>
        <p:spPr>
          <a:xfrm>
            <a:off x="6956669" y="1474993"/>
            <a:ext cx="940786" cy="5705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Model Evaluation</a:t>
            </a:r>
            <a:endParaRPr lang="en-US" sz="300" dirty="0">
              <a:solidFill>
                <a:schemeClr val="accent1"/>
              </a:solidFill>
            </a:endParaRPr>
          </a:p>
        </p:txBody>
      </p: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9C909190-9B16-44C1-A7CA-1CAD362CC267}"/>
              </a:ext>
            </a:extLst>
          </p:cNvPr>
          <p:cNvCxnSpPr>
            <a:cxnSpLocks/>
            <a:stCxn id="68" idx="0"/>
            <a:endCxn id="11" idx="0"/>
          </p:cNvCxnSpPr>
          <p:nvPr/>
        </p:nvCxnSpPr>
        <p:spPr>
          <a:xfrm rot="16200000" flipH="1" flipV="1">
            <a:off x="4897139" y="-1048215"/>
            <a:ext cx="6715" cy="5053130"/>
          </a:xfrm>
          <a:prstGeom prst="bentConnector3">
            <a:avLst>
              <a:gd name="adj1" fmla="val -8794520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593759A1-39B8-4A7B-899D-997EBCC15042}"/>
              </a:ext>
            </a:extLst>
          </p:cNvPr>
          <p:cNvSpPr/>
          <p:nvPr/>
        </p:nvSpPr>
        <p:spPr>
          <a:xfrm>
            <a:off x="4540169" y="4721557"/>
            <a:ext cx="940786" cy="59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Feature Deployment</a:t>
            </a: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4A412F20-CD39-4C85-A0E6-E4F535C9B96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332481" y="2888658"/>
            <a:ext cx="1668282" cy="2"/>
          </a:xfrm>
          <a:prstGeom prst="bentConnector3">
            <a:avLst>
              <a:gd name="adj1" fmla="val 50000"/>
            </a:avLst>
          </a:prstGeom>
          <a:ln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7B8B4102-4C9C-424D-8AD2-E057FEE26E91}"/>
              </a:ext>
            </a:extLst>
          </p:cNvPr>
          <p:cNvSpPr txBox="1"/>
          <p:nvPr/>
        </p:nvSpPr>
        <p:spPr>
          <a:xfrm rot="16200000">
            <a:off x="4276484" y="2778658"/>
            <a:ext cx="990127" cy="2092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500" dirty="0"/>
              <a:t>Request New Feature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B2DDC88-0CDC-4284-B6CF-8248368B0F63}"/>
              </a:ext>
            </a:extLst>
          </p:cNvPr>
          <p:cNvSpPr txBox="1"/>
          <p:nvPr/>
        </p:nvSpPr>
        <p:spPr>
          <a:xfrm rot="16200000">
            <a:off x="4609559" y="2771752"/>
            <a:ext cx="1307788" cy="22301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500" dirty="0"/>
              <a:t>Validate</a:t>
            </a:r>
            <a:r>
              <a:rPr lang="en-US" sz="600" dirty="0"/>
              <a:t> </a:t>
            </a:r>
            <a:r>
              <a:rPr lang="en-US" sz="500" dirty="0"/>
              <a:t>Features with Data Scientist</a:t>
            </a:r>
            <a:endParaRPr lang="en-US" sz="600" dirty="0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051875D-153C-4632-8E04-5B6611FB71F3}"/>
              </a:ext>
            </a:extLst>
          </p:cNvPr>
          <p:cNvSpPr/>
          <p:nvPr/>
        </p:nvSpPr>
        <p:spPr>
          <a:xfrm>
            <a:off x="9238175" y="4782212"/>
            <a:ext cx="740204" cy="57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Model Serving</a:t>
            </a:r>
            <a:endParaRPr lang="en-US" sz="100" dirty="0">
              <a:solidFill>
                <a:schemeClr val="accent1"/>
              </a:solidFill>
            </a:endParaRPr>
          </a:p>
        </p:txBody>
      </p: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0A0AE909-9B45-4E46-8A3B-D5E1A2F3C4C4}"/>
              </a:ext>
            </a:extLst>
          </p:cNvPr>
          <p:cNvCxnSpPr>
            <a:cxnSpLocks/>
            <a:stCxn id="68" idx="2"/>
            <a:endCxn id="169" idx="0"/>
          </p:cNvCxnSpPr>
          <p:nvPr/>
        </p:nvCxnSpPr>
        <p:spPr>
          <a:xfrm rot="5400000">
            <a:off x="6056286" y="3411436"/>
            <a:ext cx="2736638" cy="491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or: Elbow 123">
            <a:extLst>
              <a:ext uri="{FF2B5EF4-FFF2-40B4-BE49-F238E27FC236}">
                <a16:creationId xmlns:a16="http://schemas.microsoft.com/office/drawing/2014/main" id="{C35F18E7-B84F-4F01-8AD6-B62B5B58BF6E}"/>
              </a:ext>
            </a:extLst>
          </p:cNvPr>
          <p:cNvCxnSpPr>
            <a:cxnSpLocks/>
            <a:endCxn id="17" idx="2"/>
          </p:cNvCxnSpPr>
          <p:nvPr/>
        </p:nvCxnSpPr>
        <p:spPr>
          <a:xfrm rot="10800000">
            <a:off x="3730763" y="2050058"/>
            <a:ext cx="5518233" cy="4087922"/>
          </a:xfrm>
          <a:prstGeom prst="bentConnector2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B31F80B-ACF8-4BF4-B939-9BE6EA0DC877}"/>
              </a:ext>
            </a:extLst>
          </p:cNvPr>
          <p:cNvSpPr/>
          <p:nvPr/>
        </p:nvSpPr>
        <p:spPr>
          <a:xfrm>
            <a:off x="9248995" y="5732919"/>
            <a:ext cx="729384" cy="57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 rtl="0"/>
            <a:r>
              <a:rPr lang="en-US" sz="600" b="1" i="0" u="none" strike="noStrike" baseline="0" dirty="0">
                <a:solidFill>
                  <a:srgbClr val="592680"/>
                </a:solidFill>
                <a:latin typeface="Segoe UI" panose="020B0502040204020203" pitchFamily="34" charset="0"/>
              </a:rPr>
              <a:t>Model  Maintenance</a:t>
            </a:r>
          </a:p>
          <a:p>
            <a:pPr algn="ctr"/>
            <a:r>
              <a:rPr lang="en-US" sz="500" i="1" dirty="0">
                <a:solidFill>
                  <a:srgbClr val="592680"/>
                </a:solidFill>
                <a:latin typeface="Segoe UI" panose="020B0502040204020203" pitchFamily="34" charset="0"/>
              </a:rPr>
              <a:t>(Data Scientist &amp; </a:t>
            </a:r>
            <a:r>
              <a:rPr lang="en-US" sz="500" i="1" dirty="0" err="1">
                <a:solidFill>
                  <a:srgbClr val="592680"/>
                </a:solidFill>
                <a:latin typeface="Segoe UI" panose="020B0502040204020203" pitchFamily="34" charset="0"/>
              </a:rPr>
              <a:t>MLOps</a:t>
            </a:r>
            <a:r>
              <a:rPr lang="en-US" sz="500" i="1" dirty="0">
                <a:solidFill>
                  <a:srgbClr val="592680"/>
                </a:solidFill>
                <a:latin typeface="Segoe UI" panose="020B0502040204020203" pitchFamily="34" charset="0"/>
              </a:rPr>
              <a:t>)</a:t>
            </a:r>
            <a:endParaRPr lang="en-US" sz="100" i="1" dirty="0">
              <a:solidFill>
                <a:schemeClr val="accent1"/>
              </a:solidFill>
            </a:endParaRPr>
          </a:p>
          <a:p>
            <a:pPr marR="0" algn="ctr" rtl="0"/>
            <a:endParaRPr lang="en-US" sz="100" dirty="0">
              <a:solidFill>
                <a:schemeClr val="accent1"/>
              </a:solidFill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5EB3E1F1-0816-4D7D-B48C-1FEA362CC241}"/>
              </a:ext>
            </a:extLst>
          </p:cNvPr>
          <p:cNvCxnSpPr>
            <a:cxnSpLocks/>
            <a:stCxn id="95" idx="2"/>
            <a:endCxn id="129" idx="0"/>
          </p:cNvCxnSpPr>
          <p:nvPr/>
        </p:nvCxnSpPr>
        <p:spPr>
          <a:xfrm rot="16200000" flipH="1">
            <a:off x="9420918" y="5540150"/>
            <a:ext cx="380128" cy="541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or: Elbow 182">
            <a:extLst>
              <a:ext uri="{FF2B5EF4-FFF2-40B4-BE49-F238E27FC236}">
                <a16:creationId xmlns:a16="http://schemas.microsoft.com/office/drawing/2014/main" id="{01C11197-611F-45A9-AA9E-074B29BB71B6}"/>
              </a:ext>
            </a:extLst>
          </p:cNvPr>
          <p:cNvCxnSpPr>
            <a:cxnSpLocks/>
            <a:endCxn id="35" idx="1"/>
          </p:cNvCxnSpPr>
          <p:nvPr/>
        </p:nvCxnSpPr>
        <p:spPr>
          <a:xfrm rot="10800000">
            <a:off x="4533820" y="1764757"/>
            <a:ext cx="4715175" cy="4140039"/>
          </a:xfrm>
          <a:prstGeom prst="bentConnector3">
            <a:avLst>
              <a:gd name="adj1" fmla="val 104848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BF565E2-2923-405C-8C8D-4F7502E761F6}"/>
              </a:ext>
            </a:extLst>
          </p:cNvPr>
          <p:cNvGrpSpPr/>
          <p:nvPr/>
        </p:nvGrpSpPr>
        <p:grpSpPr>
          <a:xfrm>
            <a:off x="9978376" y="179265"/>
            <a:ext cx="1870725" cy="606031"/>
            <a:chOff x="10809746" y="5286134"/>
            <a:chExt cx="1389032" cy="606031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1DE8D21A-B735-4BD6-8605-6FD876AB37EA}"/>
                </a:ext>
              </a:extLst>
            </p:cNvPr>
            <p:cNvSpPr/>
            <p:nvPr/>
          </p:nvSpPr>
          <p:spPr>
            <a:xfrm>
              <a:off x="10826447" y="5515649"/>
              <a:ext cx="110448" cy="110448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B5BBBF6-E9A5-482C-9AAF-909266985189}"/>
                </a:ext>
              </a:extLst>
            </p:cNvPr>
            <p:cNvSpPr/>
            <p:nvPr/>
          </p:nvSpPr>
          <p:spPr>
            <a:xfrm>
              <a:off x="10826447" y="5720699"/>
              <a:ext cx="110448" cy="11044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8FB3919-8F4E-4CFE-8716-D35CC268EF77}"/>
                </a:ext>
              </a:extLst>
            </p:cNvPr>
            <p:cNvSpPr txBox="1"/>
            <p:nvPr/>
          </p:nvSpPr>
          <p:spPr>
            <a:xfrm>
              <a:off x="10936895" y="5515239"/>
              <a:ext cx="1177012" cy="9163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900" dirty="0">
                  <a:solidFill>
                    <a:schemeClr val="bg2">
                      <a:lumMod val="50000"/>
                    </a:schemeClr>
                  </a:solidFill>
                </a:rPr>
                <a:t>ML Developers/Analysts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AFBA5D5-A4AE-4C32-AD31-2461D4CB82CA}"/>
                </a:ext>
              </a:extLst>
            </p:cNvPr>
            <p:cNvSpPr txBox="1"/>
            <p:nvPr/>
          </p:nvSpPr>
          <p:spPr>
            <a:xfrm>
              <a:off x="10936894" y="5720289"/>
              <a:ext cx="1261884" cy="17187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900" dirty="0">
                  <a:solidFill>
                    <a:schemeClr val="bg2">
                      <a:lumMod val="50000"/>
                    </a:schemeClr>
                  </a:solidFill>
                </a:rPr>
                <a:t>ML Engineers/Operations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7C6ACEE-4A3A-4D6E-9C52-CDF477D0A993}"/>
                </a:ext>
              </a:extLst>
            </p:cNvPr>
            <p:cNvSpPr txBox="1"/>
            <p:nvPr/>
          </p:nvSpPr>
          <p:spPr>
            <a:xfrm>
              <a:off x="10809746" y="5286134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Legend</a:t>
              </a:r>
            </a:p>
          </p:txBody>
        </p:sp>
      </p:grpSp>
      <p:sp>
        <p:nvSpPr>
          <p:cNvPr id="100" name="Title 1">
            <a:extLst>
              <a:ext uri="{FF2B5EF4-FFF2-40B4-BE49-F238E27FC236}">
                <a16:creationId xmlns:a16="http://schemas.microsoft.com/office/drawing/2014/main" id="{995C74C1-EABB-40CD-9E55-BAE2F7F9D803}"/>
              </a:ext>
            </a:extLst>
          </p:cNvPr>
          <p:cNvSpPr txBox="1">
            <a:spLocks/>
          </p:cNvSpPr>
          <p:nvPr/>
        </p:nvSpPr>
        <p:spPr>
          <a:xfrm>
            <a:off x="571499" y="230436"/>
            <a:ext cx="6743702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000" b="1" dirty="0"/>
              <a:t>AI/ML Project Lifecycle (Overview)</a:t>
            </a:r>
          </a:p>
        </p:txBody>
      </p:sp>
    </p:spTree>
    <p:extLst>
      <p:ext uri="{BB962C8B-B14F-4D97-AF65-F5344CB8AC3E}">
        <p14:creationId xmlns:p14="http://schemas.microsoft.com/office/powerpoint/2010/main" val="3581998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W1FXoJ52Sd6T6PeGn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ed_S1tUVmtr1yUssMi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fLH_0AeAoMTHlI0x_w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UZDDy.lzl_tBWaOaX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ipEJMDSVG.iirVDZW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Rsvcw1czzTrqM3DGDW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bHHTBls_72kgzPt.yriA"/>
</p:tagLst>
</file>

<file path=ppt/theme/theme1.xml><?xml version="1.0" encoding="utf-8"?>
<a:theme xmlns:a="http://schemas.openxmlformats.org/drawingml/2006/main" name="Cotiviti_PPT_Template_4x3_Final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0006F"/>
      </a:accent1>
      <a:accent2>
        <a:srgbClr val="EC008C"/>
      </a:accent2>
      <a:accent3>
        <a:srgbClr val="9579D3"/>
      </a:accent3>
      <a:accent4>
        <a:srgbClr val="7C77AD"/>
      </a:accent4>
      <a:accent5>
        <a:srgbClr val="F39AC1"/>
      </a:accent5>
      <a:accent6>
        <a:srgbClr val="C2BFE0"/>
      </a:accent6>
      <a:hlink>
        <a:srgbClr val="0563C1"/>
      </a:hlink>
      <a:folHlink>
        <a:srgbClr val="954F72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ndard Corporate Upgrade" id="{70667918-64BF-4E11-9DDC-C3C26BCFACF8}" vid="{AE1C4558-EAB6-4227-AD7F-558EBE8E89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139067250E8245BF4E593A96D102DF" ma:contentTypeVersion="13" ma:contentTypeDescription="Create a new document." ma:contentTypeScope="" ma:versionID="7d7872d01c929ba96977586e0673391f">
  <xsd:schema xmlns:xsd="http://www.w3.org/2001/XMLSchema" xmlns:xs="http://www.w3.org/2001/XMLSchema" xmlns:p="http://schemas.microsoft.com/office/2006/metadata/properties" xmlns:ns3="d7e5bebf-30f3-441b-b728-071e01732b16" xmlns:ns4="7f9cbdda-07f8-4071-a9e6-a92e98bd7736" targetNamespace="http://schemas.microsoft.com/office/2006/metadata/properties" ma:root="true" ma:fieldsID="eef18346d41b3789c0219778ada1c6bd" ns3:_="" ns4:_="">
    <xsd:import namespace="d7e5bebf-30f3-441b-b728-071e01732b16"/>
    <xsd:import namespace="7f9cbdda-07f8-4071-a9e6-a92e98bd773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e5bebf-30f3-441b-b728-071e01732b1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9cbdda-07f8-4071-a9e6-a92e98bd77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A8EEF7-4868-4FD0-821E-F889560A89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056417-3E61-4AD4-9F05-50F973FD93DA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7f9cbdda-07f8-4071-a9e6-a92e98bd7736"/>
    <ds:schemaRef ds:uri="http://schemas.microsoft.com/office/infopath/2007/PartnerControls"/>
    <ds:schemaRef ds:uri="http://schemas.openxmlformats.org/package/2006/metadata/core-properties"/>
    <ds:schemaRef ds:uri="d7e5bebf-30f3-441b-b728-071e01732b16"/>
  </ds:schemaRefs>
</ds:datastoreItem>
</file>

<file path=customXml/itemProps3.xml><?xml version="1.0" encoding="utf-8"?>
<ds:datastoreItem xmlns:ds="http://schemas.openxmlformats.org/officeDocument/2006/customXml" ds:itemID="{4A4172AF-71E2-4B79-84DA-FD1A9D3397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e5bebf-30f3-441b-b728-071e01732b16"/>
    <ds:schemaRef ds:uri="7f9cbdda-07f8-4071-a9e6-a92e98bd77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tiviti_PPT_Template_4x3_Final</Template>
  <TotalTime>40436</TotalTime>
  <Words>79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Wingdings</vt:lpstr>
      <vt:lpstr>Segoe UI</vt:lpstr>
      <vt:lpstr>Calibri</vt:lpstr>
      <vt:lpstr>Montserrat</vt:lpstr>
      <vt:lpstr>Montserrat SemiBold</vt:lpstr>
      <vt:lpstr>Courier New</vt:lpstr>
      <vt:lpstr>Cotiviti_PPT_Template_4x3_Final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nson, Mica</dc:creator>
  <cp:keywords/>
  <dc:description/>
  <cp:lastModifiedBy>Nguyen, Hoang</cp:lastModifiedBy>
  <cp:revision>13</cp:revision>
  <cp:lastPrinted>2018-09-13T18:14:44Z</cp:lastPrinted>
  <dcterms:created xsi:type="dcterms:W3CDTF">2020-12-18T17:42:24Z</dcterms:created>
  <dcterms:modified xsi:type="dcterms:W3CDTF">2021-10-15T17:55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139067250E8245BF4E593A96D102DF</vt:lpwstr>
  </property>
</Properties>
</file>